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912BB7-080E-4866-BD6F-0D800BBBE676}" v="54" dt="2023-03-05T23:27:09.71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02" d="100"/>
          <a:sy n="102" d="100"/>
        </p:scale>
        <p:origin x="138" y="678"/>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0F912BB7-080E-4866-BD6F-0D800BBBE676}"/>
    <pc:docChg chg="addSld delSld modSld">
      <pc:chgData name="Roberto Gallardo" userId="49a044883f185952" providerId="LiveId" clId="{0F912BB7-080E-4866-BD6F-0D800BBBE676}" dt="2023-03-05T23:27:21.971" v="208" actId="1076"/>
      <pc:docMkLst>
        <pc:docMk/>
      </pc:docMkLst>
      <pc:sldChg chg="del">
        <pc:chgData name="Roberto Gallardo" userId="49a044883f185952" providerId="LiveId" clId="{0F912BB7-080E-4866-BD6F-0D800BBBE676}" dt="2023-02-25T14:55:30.115" v="4" actId="47"/>
        <pc:sldMkLst>
          <pc:docMk/>
          <pc:sldMk cId="1175010214" sldId="261"/>
        </pc:sldMkLst>
      </pc:sldChg>
      <pc:sldChg chg="addSp modSp mod">
        <pc:chgData name="Roberto Gallardo" userId="49a044883f185952" providerId="LiveId" clId="{0F912BB7-080E-4866-BD6F-0D800BBBE676}" dt="2023-03-05T23:19:03.784" v="12" actId="1076"/>
        <pc:sldMkLst>
          <pc:docMk/>
          <pc:sldMk cId="1418533539" sldId="271"/>
        </pc:sldMkLst>
        <pc:picChg chg="add mod">
          <ac:chgData name="Roberto Gallardo" userId="49a044883f185952" providerId="LiveId" clId="{0F912BB7-080E-4866-BD6F-0D800BBBE676}" dt="2023-03-05T23:19:03.784" v="12" actId="1076"/>
          <ac:picMkLst>
            <pc:docMk/>
            <pc:sldMk cId="1418533539" sldId="271"/>
            <ac:picMk id="6" creationId="{C48F23EE-F21B-EA92-81A4-B0A017CE82E3}"/>
          </ac:picMkLst>
        </pc:picChg>
      </pc:sldChg>
      <pc:sldChg chg="addSp modSp mod">
        <pc:chgData name="Roberto Gallardo" userId="49a044883f185952" providerId="LiveId" clId="{0F912BB7-080E-4866-BD6F-0D800BBBE676}" dt="2023-03-05T23:22:42.886" v="82" actId="1076"/>
        <pc:sldMkLst>
          <pc:docMk/>
          <pc:sldMk cId="2124848710" sldId="281"/>
        </pc:sldMkLst>
        <pc:picChg chg="add mod">
          <ac:chgData name="Roberto Gallardo" userId="49a044883f185952" providerId="LiveId" clId="{0F912BB7-080E-4866-BD6F-0D800BBBE676}" dt="2023-03-05T23:22:42.886" v="82" actId="1076"/>
          <ac:picMkLst>
            <pc:docMk/>
            <pc:sldMk cId="2124848710" sldId="281"/>
            <ac:picMk id="6" creationId="{C990D9CB-60CA-F327-1DCB-71BDA4594943}"/>
          </ac:picMkLst>
        </pc:picChg>
      </pc:sldChg>
      <pc:sldChg chg="addSp modSp mod">
        <pc:chgData name="Roberto Gallardo" userId="49a044883f185952" providerId="LiveId" clId="{0F912BB7-080E-4866-BD6F-0D800BBBE676}" dt="2023-03-05T23:23:01.230" v="92" actId="1076"/>
        <pc:sldMkLst>
          <pc:docMk/>
          <pc:sldMk cId="2028175529" sldId="282"/>
        </pc:sldMkLst>
        <pc:picChg chg="add mod">
          <ac:chgData name="Roberto Gallardo" userId="49a044883f185952" providerId="LiveId" clId="{0F912BB7-080E-4866-BD6F-0D800BBBE676}" dt="2023-03-05T23:23:01.230" v="92" actId="1076"/>
          <ac:picMkLst>
            <pc:docMk/>
            <pc:sldMk cId="2028175529" sldId="282"/>
            <ac:picMk id="7" creationId="{0A471053-92A9-DDF2-52E7-B696FD06B0BE}"/>
          </ac:picMkLst>
        </pc:picChg>
      </pc:sldChg>
      <pc:sldChg chg="addSp modSp mod">
        <pc:chgData name="Roberto Gallardo" userId="49a044883f185952" providerId="LiveId" clId="{0F912BB7-080E-4866-BD6F-0D800BBBE676}" dt="2023-03-05T23:23:17.610" v="102" actId="1076"/>
        <pc:sldMkLst>
          <pc:docMk/>
          <pc:sldMk cId="1326517747" sldId="283"/>
        </pc:sldMkLst>
        <pc:picChg chg="add mod">
          <ac:chgData name="Roberto Gallardo" userId="49a044883f185952" providerId="LiveId" clId="{0F912BB7-080E-4866-BD6F-0D800BBBE676}" dt="2023-03-05T23:23:17.610" v="102" actId="1076"/>
          <ac:picMkLst>
            <pc:docMk/>
            <pc:sldMk cId="1326517747" sldId="283"/>
            <ac:picMk id="7" creationId="{0D8E827E-2BC7-551B-B3C8-50C5BF27103F}"/>
          </ac:picMkLst>
        </pc:picChg>
      </pc:sldChg>
      <pc:sldChg chg="addSp modSp mod">
        <pc:chgData name="Roberto Gallardo" userId="49a044883f185952" providerId="LiveId" clId="{0F912BB7-080E-4866-BD6F-0D800BBBE676}" dt="2023-03-05T23:23:33.955" v="112" actId="1076"/>
        <pc:sldMkLst>
          <pc:docMk/>
          <pc:sldMk cId="783739251" sldId="284"/>
        </pc:sldMkLst>
        <pc:picChg chg="add mod">
          <ac:chgData name="Roberto Gallardo" userId="49a044883f185952" providerId="LiveId" clId="{0F912BB7-080E-4866-BD6F-0D800BBBE676}" dt="2023-03-05T23:23:33.955" v="112" actId="1076"/>
          <ac:picMkLst>
            <pc:docMk/>
            <pc:sldMk cId="783739251" sldId="284"/>
            <ac:picMk id="7" creationId="{00FD22D0-12F0-1087-A778-6AC73655909C}"/>
          </ac:picMkLst>
        </pc:picChg>
      </pc:sldChg>
      <pc:sldChg chg="addSp modSp mod">
        <pc:chgData name="Roberto Gallardo" userId="49a044883f185952" providerId="LiveId" clId="{0F912BB7-080E-4866-BD6F-0D800BBBE676}" dt="2023-03-05T23:23:55.916" v="125" actId="1076"/>
        <pc:sldMkLst>
          <pc:docMk/>
          <pc:sldMk cId="1676122233" sldId="285"/>
        </pc:sldMkLst>
        <pc:picChg chg="add mod">
          <ac:chgData name="Roberto Gallardo" userId="49a044883f185952" providerId="LiveId" clId="{0F912BB7-080E-4866-BD6F-0D800BBBE676}" dt="2023-03-05T23:23:55.916" v="125" actId="1076"/>
          <ac:picMkLst>
            <pc:docMk/>
            <pc:sldMk cId="1676122233" sldId="285"/>
            <ac:picMk id="7" creationId="{124A0D36-CB15-1D79-07AA-5676F6B2A509}"/>
          </ac:picMkLst>
        </pc:picChg>
      </pc:sldChg>
      <pc:sldChg chg="addSp modSp mod">
        <pc:chgData name="Roberto Gallardo" userId="49a044883f185952" providerId="LiveId" clId="{0F912BB7-080E-4866-BD6F-0D800BBBE676}" dt="2023-03-05T23:24:12.962" v="137" actId="1076"/>
        <pc:sldMkLst>
          <pc:docMk/>
          <pc:sldMk cId="3100398757" sldId="286"/>
        </pc:sldMkLst>
        <pc:picChg chg="add mod">
          <ac:chgData name="Roberto Gallardo" userId="49a044883f185952" providerId="LiveId" clId="{0F912BB7-080E-4866-BD6F-0D800BBBE676}" dt="2023-03-05T23:24:12.962" v="137" actId="1076"/>
          <ac:picMkLst>
            <pc:docMk/>
            <pc:sldMk cId="3100398757" sldId="286"/>
            <ac:picMk id="7" creationId="{23179B99-47AD-B85C-B7E9-9CC47596B587}"/>
          </ac:picMkLst>
        </pc:picChg>
      </pc:sldChg>
      <pc:sldChg chg="addSp modSp mod">
        <pc:chgData name="Roberto Gallardo" userId="49a044883f185952" providerId="LiveId" clId="{0F912BB7-080E-4866-BD6F-0D800BBBE676}" dt="2023-03-05T23:25:32.784" v="146" actId="1076"/>
        <pc:sldMkLst>
          <pc:docMk/>
          <pc:sldMk cId="1546475425" sldId="287"/>
        </pc:sldMkLst>
        <pc:picChg chg="add mod">
          <ac:chgData name="Roberto Gallardo" userId="49a044883f185952" providerId="LiveId" clId="{0F912BB7-080E-4866-BD6F-0D800BBBE676}" dt="2023-03-05T23:25:32.784" v="146" actId="1076"/>
          <ac:picMkLst>
            <pc:docMk/>
            <pc:sldMk cId="1546475425" sldId="287"/>
            <ac:picMk id="7" creationId="{198588D9-A82F-DF8E-8DAD-9B9555C96D0E}"/>
          </ac:picMkLst>
        </pc:picChg>
      </pc:sldChg>
      <pc:sldChg chg="addSp modSp mod">
        <pc:chgData name="Roberto Gallardo" userId="49a044883f185952" providerId="LiveId" clId="{0F912BB7-080E-4866-BD6F-0D800BBBE676}" dt="2023-03-05T23:26:06.423" v="167" actId="1076"/>
        <pc:sldMkLst>
          <pc:docMk/>
          <pc:sldMk cId="1380517306" sldId="288"/>
        </pc:sldMkLst>
        <pc:picChg chg="add mod">
          <ac:chgData name="Roberto Gallardo" userId="49a044883f185952" providerId="LiveId" clId="{0F912BB7-080E-4866-BD6F-0D800BBBE676}" dt="2023-03-05T23:26:06.423" v="167" actId="1076"/>
          <ac:picMkLst>
            <pc:docMk/>
            <pc:sldMk cId="1380517306" sldId="288"/>
            <ac:picMk id="7" creationId="{6F7E99DE-540B-517B-EC0D-AAA36E249F25}"/>
          </ac:picMkLst>
        </pc:picChg>
      </pc:sldChg>
      <pc:sldChg chg="addSp modSp mod">
        <pc:chgData name="Roberto Gallardo" userId="49a044883f185952" providerId="LiveId" clId="{0F912BB7-080E-4866-BD6F-0D800BBBE676}" dt="2023-03-05T23:26:22.931" v="177" actId="1076"/>
        <pc:sldMkLst>
          <pc:docMk/>
          <pc:sldMk cId="1388671151" sldId="289"/>
        </pc:sldMkLst>
        <pc:picChg chg="add mod">
          <ac:chgData name="Roberto Gallardo" userId="49a044883f185952" providerId="LiveId" clId="{0F912BB7-080E-4866-BD6F-0D800BBBE676}" dt="2023-03-05T23:26:22.931" v="177" actId="1076"/>
          <ac:picMkLst>
            <pc:docMk/>
            <pc:sldMk cId="1388671151" sldId="289"/>
            <ac:picMk id="7" creationId="{02A97CD8-7287-4193-3B07-04F94CE954F3}"/>
          </ac:picMkLst>
        </pc:picChg>
      </pc:sldChg>
      <pc:sldChg chg="addSp modSp mod">
        <pc:chgData name="Roberto Gallardo" userId="49a044883f185952" providerId="LiveId" clId="{0F912BB7-080E-4866-BD6F-0D800BBBE676}" dt="2023-03-05T23:27:02.242" v="197" actId="1076"/>
        <pc:sldMkLst>
          <pc:docMk/>
          <pc:sldMk cId="2355376039" sldId="290"/>
        </pc:sldMkLst>
        <pc:picChg chg="add mod">
          <ac:chgData name="Roberto Gallardo" userId="49a044883f185952" providerId="LiveId" clId="{0F912BB7-080E-4866-BD6F-0D800BBBE676}" dt="2023-03-05T23:27:02.242" v="197" actId="1076"/>
          <ac:picMkLst>
            <pc:docMk/>
            <pc:sldMk cId="2355376039" sldId="290"/>
            <ac:picMk id="8" creationId="{44FE1E4C-852D-E4B3-8DF6-BF05ADDAB407}"/>
          </ac:picMkLst>
        </pc:picChg>
      </pc:sldChg>
      <pc:sldChg chg="addSp modSp mod">
        <pc:chgData name="Roberto Gallardo" userId="49a044883f185952" providerId="LiveId" clId="{0F912BB7-080E-4866-BD6F-0D800BBBE676}" dt="2023-03-05T23:27:21.971" v="208" actId="1076"/>
        <pc:sldMkLst>
          <pc:docMk/>
          <pc:sldMk cId="3757257295" sldId="291"/>
        </pc:sldMkLst>
        <pc:picChg chg="add mod">
          <ac:chgData name="Roberto Gallardo" userId="49a044883f185952" providerId="LiveId" clId="{0F912BB7-080E-4866-BD6F-0D800BBBE676}" dt="2023-03-05T23:27:21.971" v="208" actId="1076"/>
          <ac:picMkLst>
            <pc:docMk/>
            <pc:sldMk cId="3757257295" sldId="291"/>
            <ac:picMk id="8" creationId="{9A46F621-AA35-B927-AB7C-111A75E680F3}"/>
          </ac:picMkLst>
        </pc:picChg>
      </pc:sldChg>
      <pc:sldChg chg="addSp modSp mod">
        <pc:chgData name="Roberto Gallardo" userId="49a044883f185952" providerId="LiveId" clId="{0F912BB7-080E-4866-BD6F-0D800BBBE676}" dt="2023-03-05T23:25:50.943" v="157" actId="1076"/>
        <pc:sldMkLst>
          <pc:docMk/>
          <pc:sldMk cId="1259856727" sldId="292"/>
        </pc:sldMkLst>
        <pc:picChg chg="add mod">
          <ac:chgData name="Roberto Gallardo" userId="49a044883f185952" providerId="LiveId" clId="{0F912BB7-080E-4866-BD6F-0D800BBBE676}" dt="2023-03-05T23:25:50.943" v="157" actId="1076"/>
          <ac:picMkLst>
            <pc:docMk/>
            <pc:sldMk cId="1259856727" sldId="292"/>
            <ac:picMk id="7" creationId="{D5E2AE8F-DD63-2DB7-FCE8-3FB4EB752F38}"/>
          </ac:picMkLst>
        </pc:picChg>
      </pc:sldChg>
      <pc:sldChg chg="addSp modSp mod">
        <pc:chgData name="Roberto Gallardo" userId="49a044883f185952" providerId="LiveId" clId="{0F912BB7-080E-4866-BD6F-0D800BBBE676}" dt="2023-03-05T23:22:10.278" v="68" actId="1076"/>
        <pc:sldMkLst>
          <pc:docMk/>
          <pc:sldMk cId="3324519687" sldId="293"/>
        </pc:sldMkLst>
        <pc:picChg chg="add mod">
          <ac:chgData name="Roberto Gallardo" userId="49a044883f185952" providerId="LiveId" clId="{0F912BB7-080E-4866-BD6F-0D800BBBE676}" dt="2023-03-05T23:22:10.278" v="68" actId="1076"/>
          <ac:picMkLst>
            <pc:docMk/>
            <pc:sldMk cId="3324519687" sldId="293"/>
            <ac:picMk id="7" creationId="{D03F3093-32CC-D586-73B7-72D26353EF0B}"/>
          </ac:picMkLst>
        </pc:picChg>
      </pc:sldChg>
      <pc:sldChg chg="addSp modSp mod">
        <pc:chgData name="Roberto Gallardo" userId="49a044883f185952" providerId="LiveId" clId="{0F912BB7-080E-4866-BD6F-0D800BBBE676}" dt="2023-03-05T23:21:02.698" v="49" actId="1076"/>
        <pc:sldMkLst>
          <pc:docMk/>
          <pc:sldMk cId="3256182630" sldId="295"/>
        </pc:sldMkLst>
        <pc:picChg chg="add mod">
          <ac:chgData name="Roberto Gallardo" userId="49a044883f185952" providerId="LiveId" clId="{0F912BB7-080E-4866-BD6F-0D800BBBE676}" dt="2023-03-05T23:21:02.698" v="49" actId="1076"/>
          <ac:picMkLst>
            <pc:docMk/>
            <pc:sldMk cId="3256182630" sldId="295"/>
            <ac:picMk id="7" creationId="{71F6A2B9-2C6F-07B7-3872-3CC836EDB86F}"/>
          </ac:picMkLst>
        </pc:picChg>
      </pc:sldChg>
      <pc:sldChg chg="addSp modSp mod">
        <pc:chgData name="Roberto Gallardo" userId="49a044883f185952" providerId="LiveId" clId="{0F912BB7-080E-4866-BD6F-0D800BBBE676}" dt="2023-03-05T23:21:35.271" v="59" actId="1076"/>
        <pc:sldMkLst>
          <pc:docMk/>
          <pc:sldMk cId="4057156843" sldId="296"/>
        </pc:sldMkLst>
        <pc:picChg chg="add mod">
          <ac:chgData name="Roberto Gallardo" userId="49a044883f185952" providerId="LiveId" clId="{0F912BB7-080E-4866-BD6F-0D800BBBE676}" dt="2023-03-05T23:21:35.271" v="59" actId="1076"/>
          <ac:picMkLst>
            <pc:docMk/>
            <pc:sldMk cId="4057156843" sldId="296"/>
            <ac:picMk id="7" creationId="{CCE32A13-B439-910F-7A46-8AC8FBB19528}"/>
          </ac:picMkLst>
        </pc:picChg>
      </pc:sldChg>
      <pc:sldChg chg="addSp modSp mod">
        <pc:chgData name="Roberto Gallardo" userId="49a044883f185952" providerId="LiveId" clId="{0F912BB7-080E-4866-BD6F-0D800BBBE676}" dt="2023-03-05T23:19:55.908" v="34" actId="1076"/>
        <pc:sldMkLst>
          <pc:docMk/>
          <pc:sldMk cId="2080110827" sldId="297"/>
        </pc:sldMkLst>
        <pc:picChg chg="add mod">
          <ac:chgData name="Roberto Gallardo" userId="49a044883f185952" providerId="LiveId" clId="{0F912BB7-080E-4866-BD6F-0D800BBBE676}" dt="2023-03-05T23:19:55.908" v="34" actId="1076"/>
          <ac:picMkLst>
            <pc:docMk/>
            <pc:sldMk cId="2080110827" sldId="297"/>
            <ac:picMk id="6" creationId="{9636DA10-CE0D-9615-F8CE-A3C123F3D81F}"/>
          </ac:picMkLst>
        </pc:picChg>
      </pc:sldChg>
      <pc:sldChg chg="addSp modSp mod">
        <pc:chgData name="Roberto Gallardo" userId="49a044883f185952" providerId="LiveId" clId="{0F912BB7-080E-4866-BD6F-0D800BBBE676}" dt="2023-03-05T23:19:23.447" v="19" actId="1076"/>
        <pc:sldMkLst>
          <pc:docMk/>
          <pc:sldMk cId="1532666867" sldId="298"/>
        </pc:sldMkLst>
        <pc:picChg chg="add mod">
          <ac:chgData name="Roberto Gallardo" userId="49a044883f185952" providerId="LiveId" clId="{0F912BB7-080E-4866-BD6F-0D800BBBE676}" dt="2023-03-05T23:19:23.447" v="19" actId="1076"/>
          <ac:picMkLst>
            <pc:docMk/>
            <pc:sldMk cId="1532666867" sldId="298"/>
            <ac:picMk id="6" creationId="{4F2E9C42-406C-488E-1D7A-F571C473614A}"/>
          </ac:picMkLst>
        </pc:picChg>
      </pc:sldChg>
      <pc:sldChg chg="addSp modSp mod">
        <pc:chgData name="Roberto Gallardo" userId="49a044883f185952" providerId="LiveId" clId="{0F912BB7-080E-4866-BD6F-0D800BBBE676}" dt="2023-03-05T23:26:41.523" v="187" actId="1076"/>
        <pc:sldMkLst>
          <pc:docMk/>
          <pc:sldMk cId="1951376777" sldId="299"/>
        </pc:sldMkLst>
        <pc:picChg chg="add mod">
          <ac:chgData name="Roberto Gallardo" userId="49a044883f185952" providerId="LiveId" clId="{0F912BB7-080E-4866-BD6F-0D800BBBE676}" dt="2023-03-05T23:26:41.523" v="187" actId="1076"/>
          <ac:picMkLst>
            <pc:docMk/>
            <pc:sldMk cId="1951376777" sldId="299"/>
            <ac:picMk id="7" creationId="{6F3C64C7-AABD-0B0E-ABE8-EFC2AF85F601}"/>
          </ac:picMkLst>
        </pc:picChg>
      </pc:sldChg>
      <pc:sldChg chg="modSp mod">
        <pc:chgData name="Roberto Gallardo" userId="49a044883f185952" providerId="LiveId" clId="{0F912BB7-080E-4866-BD6F-0D800BBBE676}" dt="2023-02-25T13:24:00.310" v="2" actId="20577"/>
        <pc:sldMkLst>
          <pc:docMk/>
          <pc:sldMk cId="1515423683" sldId="302"/>
        </pc:sldMkLst>
        <pc:spChg chg="mod">
          <ac:chgData name="Roberto Gallardo" userId="49a044883f185952" providerId="LiveId" clId="{0F912BB7-080E-4866-BD6F-0D800BBBE676}" dt="2023-02-25T13:24:00.310" v="2" actId="20577"/>
          <ac:spMkLst>
            <pc:docMk/>
            <pc:sldMk cId="1515423683" sldId="302"/>
            <ac:spMk id="5" creationId="{6AE302AC-8931-4144-BE52-DD1A8BA82462}"/>
          </ac:spMkLst>
        </pc:spChg>
        <pc:spChg chg="mod">
          <ac:chgData name="Roberto Gallardo" userId="49a044883f185952" providerId="LiveId" clId="{0F912BB7-080E-4866-BD6F-0D800BBBE676}" dt="2023-02-25T13:23:57.791" v="1" actId="20577"/>
          <ac:spMkLst>
            <pc:docMk/>
            <pc:sldMk cId="1515423683" sldId="302"/>
            <ac:spMk id="9" creationId="{E362A98F-7DCD-C67C-23CE-1BE182A133B4}"/>
          </ac:spMkLst>
        </pc:spChg>
      </pc:sldChg>
      <pc:sldChg chg="del">
        <pc:chgData name="Roberto Gallardo" userId="49a044883f185952" providerId="LiveId" clId="{0F912BB7-080E-4866-BD6F-0D800BBBE676}" dt="2023-02-25T14:55:30.115" v="4" actId="47"/>
        <pc:sldMkLst>
          <pc:docMk/>
          <pc:sldMk cId="2841628872" sldId="303"/>
        </pc:sldMkLst>
      </pc:sldChg>
      <pc:sldChg chg="del">
        <pc:chgData name="Roberto Gallardo" userId="49a044883f185952" providerId="LiveId" clId="{0F912BB7-080E-4866-BD6F-0D800BBBE676}" dt="2023-02-25T14:55:30.115" v="4" actId="47"/>
        <pc:sldMkLst>
          <pc:docMk/>
          <pc:sldMk cId="3084076302" sldId="304"/>
        </pc:sldMkLst>
      </pc:sldChg>
      <pc:sldChg chg="del">
        <pc:chgData name="Roberto Gallardo" userId="49a044883f185952" providerId="LiveId" clId="{0F912BB7-080E-4866-BD6F-0D800BBBE676}" dt="2023-02-25T14:55:30.115" v="4" actId="47"/>
        <pc:sldMkLst>
          <pc:docMk/>
          <pc:sldMk cId="473712435" sldId="305"/>
        </pc:sldMkLst>
      </pc:sldChg>
      <pc:sldChg chg="add">
        <pc:chgData name="Roberto Gallardo" userId="49a044883f185952" providerId="LiveId" clId="{0F912BB7-080E-4866-BD6F-0D800BBBE676}" dt="2023-02-25T14:55:27.046" v="3"/>
        <pc:sldMkLst>
          <pc:docMk/>
          <pc:sldMk cId="601228442" sldId="307"/>
        </pc:sldMkLst>
      </pc:sldChg>
      <pc:sldChg chg="add">
        <pc:chgData name="Roberto Gallardo" userId="49a044883f185952" providerId="LiveId" clId="{0F912BB7-080E-4866-BD6F-0D800BBBE676}" dt="2023-02-25T14:55:27.046" v="3"/>
        <pc:sldMkLst>
          <pc:docMk/>
          <pc:sldMk cId="1330425744" sldId="308"/>
        </pc:sldMkLst>
      </pc:sldChg>
      <pc:sldChg chg="add">
        <pc:chgData name="Roberto Gallardo" userId="49a044883f185952" providerId="LiveId" clId="{0F912BB7-080E-4866-BD6F-0D800BBBE676}" dt="2023-02-25T14:55:27.046" v="3"/>
        <pc:sldMkLst>
          <pc:docMk/>
          <pc:sldMk cId="1335341990" sldId="309"/>
        </pc:sldMkLst>
      </pc:sldChg>
      <pc:sldChg chg="add">
        <pc:chgData name="Roberto Gallardo" userId="49a044883f185952" providerId="LiveId" clId="{0F912BB7-080E-4866-BD6F-0D800BBBE676}" dt="2023-02-25T14:55:27.046" v="3"/>
        <pc:sldMkLst>
          <pc:docMk/>
          <pc:sldMk cId="2886706052"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31763"/>
          </a:xfrm>
          <a:prstGeom prst="rect">
            <a:avLst/>
          </a:prstGeom>
          <a:noFill/>
        </p:spPr>
        <p:txBody>
          <a:bodyPr wrap="square" rtlCol="0">
            <a:spAutoFit/>
          </a:bodyPr>
          <a:lstStyle/>
          <a:p>
            <a:r>
              <a:rPr lang="en-US" sz="4000" dirty="0">
                <a:solidFill>
                  <a:schemeClr val="bg1"/>
                </a:solidFill>
              </a:rPr>
              <a:t>Carteret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6C166CE-F607-3CEA-EB53-F0DA0A29FBA0}"/>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3353419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82628221-5E9F-14BE-273E-402DBEA8F45E}"/>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28867060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Diagram&#10;&#10;Description automatically generated">
            <a:extLst>
              <a:ext uri="{FF2B5EF4-FFF2-40B4-BE49-F238E27FC236}">
                <a16:creationId xmlns:a16="http://schemas.microsoft.com/office/drawing/2014/main" id="{C48F23EE-F21B-EA92-81A4-B0A017CE82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5"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schematic&#10;&#10;Description automatically generated">
            <a:extLst>
              <a:ext uri="{FF2B5EF4-FFF2-40B4-BE49-F238E27FC236}">
                <a16:creationId xmlns:a16="http://schemas.microsoft.com/office/drawing/2014/main" id="{4F2E9C42-406C-488E-1D7A-F571C47361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10;&#10;Description automatically generated">
            <a:extLst>
              <a:ext uri="{FF2B5EF4-FFF2-40B4-BE49-F238E27FC236}">
                <a16:creationId xmlns:a16="http://schemas.microsoft.com/office/drawing/2014/main" id="{9636DA10-CE0D-9615-F8CE-A3C123F3D8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0145B51D-844A-B52C-D087-5B050A2034EC}"/>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Diagram, schematic&#10;&#10;Description automatically generated">
            <a:extLst>
              <a:ext uri="{FF2B5EF4-FFF2-40B4-BE49-F238E27FC236}">
                <a16:creationId xmlns:a16="http://schemas.microsoft.com/office/drawing/2014/main" id="{71F6A2B9-2C6F-07B7-3872-3CC836EDB8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5625" y="1413930"/>
            <a:ext cx="6403975" cy="4528616"/>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7095C7C6-64C2-33BA-EFD3-1422D70706FA}"/>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Diagram, schematic&#10;&#10;Description automatically generated">
            <a:extLst>
              <a:ext uri="{FF2B5EF4-FFF2-40B4-BE49-F238E27FC236}">
                <a16:creationId xmlns:a16="http://schemas.microsoft.com/office/drawing/2014/main" id="{CCE32A13-B439-910F-7A46-8AC8FBB195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B16BB777-1ECB-946D-67E4-F99EE85BDAAC}"/>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A picture containing diagram&#10;&#10;Description automatically generated">
            <a:extLst>
              <a:ext uri="{FF2B5EF4-FFF2-40B4-BE49-F238E27FC236}">
                <a16:creationId xmlns:a16="http://schemas.microsoft.com/office/drawing/2014/main" id="{D03F3093-32CC-D586-73B7-72D26353EF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4775B94-8C8A-F21C-120D-CB848761BC33}"/>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A picture containing diagram&#10;&#10;Description automatically generated">
            <a:extLst>
              <a:ext uri="{FF2B5EF4-FFF2-40B4-BE49-F238E27FC236}">
                <a16:creationId xmlns:a16="http://schemas.microsoft.com/office/drawing/2014/main" id="{C990D9CB-60CA-F327-1DCB-71BDA45949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6" y="1412671"/>
            <a:ext cx="6400799" cy="4526370"/>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8CC94AA4-9BD2-BD6F-DED5-BC5114140760}"/>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0A471053-92A9-DDF2-52E7-B696FD06B0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2"/>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C7F343F7-EEDE-E74B-0B20-6259F6CD456E}"/>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0D8E827E-2BC7-551B-B3C8-50C5BF2710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0208"/>
            <a:ext cx="6404826" cy="4529218"/>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902D9BB3-6ABB-08DF-A799-A64FA84D70EC}"/>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00FD22D0-12F0-1087-A778-6AC7365590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917"/>
            <a:ext cx="6400800" cy="45263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D1D94984-24FA-4276-69A4-DF7A976F0ADB}"/>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with medium confidence">
            <a:extLst>
              <a:ext uri="{FF2B5EF4-FFF2-40B4-BE49-F238E27FC236}">
                <a16:creationId xmlns:a16="http://schemas.microsoft.com/office/drawing/2014/main" id="{124A0D36-CB15-1D79-07AA-5676F6B2A5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7612"/>
            <a:ext cx="6403881" cy="4528550"/>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AA1178A1-370F-BEC5-4E66-138C18D5FB40}"/>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23179B99-47AD-B85C-B7E9-9CC47596B5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2122"/>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BBEAB4BA-30D2-9D84-238C-07F37E6E5995}"/>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198588D9-A82F-DF8E-8DAD-9B9555C96D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87"/>
            <a:ext cx="6400800"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53F9A968-209E-A972-C132-1B2BDB596AD8}"/>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D5E2AE8F-DD63-2DB7-FCE8-3FB4EB752F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0119" y="1407238"/>
            <a:ext cx="6399481" cy="4525439"/>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1DD217F5-E363-0D16-6151-5DCEC8081CC5}"/>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6F7E99DE-540B-517B-EC0D-AAA36E249F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402"/>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D9D9C64B-F121-B910-916A-64E14256A2D9}"/>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02A97CD8-7287-4193-3B07-04F94CE954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407"/>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F425C321-A154-4BFF-67DD-F0DED432637D}"/>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Diagram&#10;&#10;Description automatically generated">
            <a:extLst>
              <a:ext uri="{FF2B5EF4-FFF2-40B4-BE49-F238E27FC236}">
                <a16:creationId xmlns:a16="http://schemas.microsoft.com/office/drawing/2014/main" id="{6F3C64C7-AABD-0B0E-ABE8-EFC2AF85F60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8701540D-B8D6-3EDB-122B-B8C42290E4F1}"/>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Diagram, schematic&#10;&#10;Description automatically generated">
            <a:extLst>
              <a:ext uri="{FF2B5EF4-FFF2-40B4-BE49-F238E27FC236}">
                <a16:creationId xmlns:a16="http://schemas.microsoft.com/office/drawing/2014/main" id="{44FE1E4C-852D-E4B3-8DF6-BF05ADDAB4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147"/>
            <a:ext cx="6400800" cy="452637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B1B9001C-0095-D661-A977-8F82F557D6C7}"/>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52DA6AD4-9E2B-02AC-0025-8A4D63BB567F}"/>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Diagram&#10;&#10;Description automatically generated">
            <a:extLst>
              <a:ext uri="{FF2B5EF4-FFF2-40B4-BE49-F238E27FC236}">
                <a16:creationId xmlns:a16="http://schemas.microsoft.com/office/drawing/2014/main" id="{9A46F621-AA35-B927-AB7C-111A75E680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762"/>
            <a:ext cx="6400801"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EA60CDA1-BA66-8D49-B5DB-DEBFD1C99C95}"/>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889AD4D4-0C56-E6A7-2B01-9B6FBDB60532}"/>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9B4E80E-31E7-89EF-E703-160872E61887}"/>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83649" y="2604909"/>
            <a:ext cx="1198148" cy="2120188"/>
            <a:chOff x="8052264" y="2525400"/>
            <a:chExt cx="1198148" cy="2120188"/>
          </a:xfrm>
        </p:grpSpPr>
        <p:sp>
          <p:nvSpPr>
            <p:cNvPr id="21" name="TextBox 20">
              <a:extLst>
                <a:ext uri="{FF2B5EF4-FFF2-40B4-BE49-F238E27FC236}">
                  <a16:creationId xmlns:a16="http://schemas.microsoft.com/office/drawing/2014/main" id="{9A68ADBE-AECC-EE60-7E94-3675B33E08AE}"/>
                </a:ext>
              </a:extLst>
            </p:cNvPr>
            <p:cNvSpPr txBox="1"/>
            <p:nvPr/>
          </p:nvSpPr>
          <p:spPr>
            <a:xfrm>
              <a:off x="8052264" y="321606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4</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464558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25254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p:cNvCxnSpPr>
            <p:nvPr/>
          </p:nvCxnSpPr>
          <p:spPr>
            <a:xfrm>
              <a:off x="8639518" y="2525400"/>
              <a:ext cx="0" cy="60076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51338" y="4108620"/>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45352" y="2649955"/>
            <a:ext cx="1198148" cy="2263951"/>
            <a:chOff x="10485745" y="2865299"/>
            <a:chExt cx="1198148" cy="2263951"/>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50320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8</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512925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87663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p:cNvCxnSpPr>
            <p:nvPr/>
          </p:nvCxnSpPr>
          <p:spPr>
            <a:xfrm>
              <a:off x="11085195" y="2865299"/>
              <a:ext cx="0" cy="64562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395761"/>
              <a:ext cx="0" cy="73348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F590A093-60AE-880C-41A4-AE605B314E7E}"/>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AEB8EBAB-F900-CB28-DE38-28B497294992}"/>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05359038-4090-75A4-EFC3-D046DADFF8B2}"/>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1D16E454-558C-8AE9-E052-4B5818AFB893}"/>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10FCFEF7-BDA4-CC6A-C843-8CA860E32E62}"/>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91476610-7504-B653-E4A2-36C72B05A3C7}"/>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F240CD10-DFD4-66AC-D3E3-9D152D43EAED}"/>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6012284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3B3BE196-6576-2BEF-855A-FC5FCD9DAB4C}"/>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13304257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84</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81</cp:revision>
  <dcterms:created xsi:type="dcterms:W3CDTF">2022-07-04T13:32:28Z</dcterms:created>
  <dcterms:modified xsi:type="dcterms:W3CDTF">2023-03-05T23:27:28Z</dcterms:modified>
</cp:coreProperties>
</file>